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83" r:id="rId2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0F0"/>
    <a:srgbClr val="50923E"/>
    <a:srgbClr val="D9D9D9"/>
    <a:srgbClr val="F6F6F6"/>
    <a:srgbClr val="FCAF1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B9631B5-78F2-41C9-869B-9F39066F8104}" styleName="Средний стиль 3 -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59" autoAdjust="0"/>
    <p:restoredTop sz="95462" autoAdjust="0"/>
  </p:normalViewPr>
  <p:slideViewPr>
    <p:cSldViewPr>
      <p:cViewPr varScale="1">
        <p:scale>
          <a:sx n="75" d="100"/>
          <a:sy n="75" d="100"/>
        </p:scale>
        <p:origin x="1482" y="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1324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56BADD-90CE-4381-8A29-8D9C92546989}" type="datetimeFigureOut">
              <a:rPr lang="ru-RU" smtClean="0"/>
              <a:pPr/>
              <a:t>16.02.2017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7D1873-4D80-4618-A0C9-A770B96BD49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53483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6.02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6.02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6.02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950685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5043" y="2520834"/>
            <a:ext cx="7376868" cy="1130945"/>
          </a:xfrm>
          <a:prstGeom prst="rect">
            <a:avLst/>
          </a:prstGeom>
        </p:spPr>
        <p:txBody>
          <a:bodyPr lIns="91375" tIns="45688" rIns="91375" bIns="45688"/>
          <a:lstStyle>
            <a:lvl1pPr algn="l" eaLnBrk="1" hangingPunct="1"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50834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26976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79518" y="116632"/>
            <a:ext cx="8781439" cy="848513"/>
          </a:xfrm>
          <a:prstGeom prst="rect">
            <a:avLst/>
          </a:prstGeom>
        </p:spPr>
        <p:txBody>
          <a:bodyPr lIns="0" tIns="45688" rIns="0" bIns="45688"/>
          <a:lstStyle>
            <a:lvl1pPr algn="l">
              <a:defRPr sz="2400" b="1" i="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1536" y="6572590"/>
            <a:ext cx="296429" cy="125612"/>
          </a:xfrm>
          <a:prstGeom prst="rect">
            <a:avLst/>
          </a:prstGeom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spAutoFit/>
          </a:bodyPr>
          <a:lstStyle>
            <a:lvl1pPr>
              <a:defRPr lang="ru-RU" altLang="en-US" sz="800" b="0" smtClean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algn="r" defTabSz="914069"/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5175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6.02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6.02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6.02.2017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6.02.2017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6.02.2017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6.02.2017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6.02.2017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6.02.2017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pPr/>
              <a:t>16.02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4" r:id="rId12"/>
    <p:sldLayoutId id="2147483675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2776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73</TotalTime>
  <Words>0</Words>
  <Application>Microsoft Office PowerPoint</Application>
  <PresentationFormat>On-screen Show (4:3)</PresentationFormat>
  <Paragraphs>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Тема Offic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внесении изменений в архитектуру корпоративных процессов</dc:title>
  <dc:creator>Сухов Никита Эдуардович</dc:creator>
  <cp:lastModifiedBy>Близнюк Михаил Васильевич</cp:lastModifiedBy>
  <cp:revision>530</cp:revision>
  <cp:lastPrinted>2016-06-15T06:40:50Z</cp:lastPrinted>
  <dcterms:created xsi:type="dcterms:W3CDTF">2015-11-26T08:29:50Z</dcterms:created>
  <dcterms:modified xsi:type="dcterms:W3CDTF">2017-02-16T13:26:22Z</dcterms:modified>
</cp:coreProperties>
</file>